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sldIdLst>
    <p:sldId id="1710" r:id="rId2"/>
    <p:sldId id="1720" r:id="rId3"/>
    <p:sldId id="1711" r:id="rId4"/>
    <p:sldId id="1712" r:id="rId5"/>
    <p:sldId id="1713" r:id="rId6"/>
    <p:sldId id="1714" r:id="rId7"/>
    <p:sldId id="1715" r:id="rId8"/>
    <p:sldId id="1716" r:id="rId9"/>
    <p:sldId id="1717" r:id="rId10"/>
    <p:sldId id="1718" r:id="rId11"/>
  </p:sldIdLst>
  <p:sldSz cx="12192000" cy="6858000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7378" userDrawn="1">
          <p15:clr>
            <a:srgbClr val="A4A3A4"/>
          </p15:clr>
        </p15:guide>
        <p15:guide id="3" orient="horz" pos="3566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347" userDrawn="1">
          <p15:clr>
            <a:srgbClr val="A4A3A4"/>
          </p15:clr>
        </p15:guide>
        <p15:guide id="6" orient="horz" pos="119" userDrawn="1">
          <p15:clr>
            <a:srgbClr val="A4A3A4"/>
          </p15:clr>
        </p15:guide>
        <p15:guide id="7" orient="horz" pos="4065" userDrawn="1">
          <p15:clr>
            <a:srgbClr val="A4A3A4"/>
          </p15:clr>
        </p15:guide>
        <p15:guide id="8" orient="horz" pos="527" userDrawn="1">
          <p15:clr>
            <a:srgbClr val="A4A3A4"/>
          </p15:clr>
        </p15:guide>
        <p15:guide id="10" orient="horz" pos="1344" userDrawn="1">
          <p15:clr>
            <a:srgbClr val="A4A3A4"/>
          </p15:clr>
        </p15:guide>
        <p15:guide id="11" pos="270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ana Popova" initials="YP" lastIdx="4" clrIdx="0">
    <p:extLst>
      <p:ext uri="{19B8F6BF-5375-455C-9EA6-DF929625EA0E}">
        <p15:presenceInfo xmlns:p15="http://schemas.microsoft.com/office/powerpoint/2012/main" userId="bb201b92a31dc6b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9"/>
    <a:srgbClr val="256DA3"/>
    <a:srgbClr val="4096CD"/>
    <a:srgbClr val="71A7C1"/>
    <a:srgbClr val="6190A7"/>
    <a:srgbClr val="D9DBDD"/>
    <a:srgbClr val="E9EAEB"/>
    <a:srgbClr val="DCDEE0"/>
    <a:srgbClr val="F29B86"/>
    <a:srgbClr val="D9EA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03" autoAdjust="0"/>
    <p:restoredTop sz="95934"/>
  </p:normalViewPr>
  <p:slideViewPr>
    <p:cSldViewPr>
      <p:cViewPr varScale="1">
        <p:scale>
          <a:sx n="111" d="100"/>
          <a:sy n="111" d="100"/>
        </p:scale>
        <p:origin x="714" y="78"/>
      </p:cViewPr>
      <p:guideLst>
        <p:guide pos="7378"/>
        <p:guide orient="horz" pos="3566"/>
        <p:guide pos="3840"/>
        <p:guide pos="347"/>
        <p:guide orient="horz" pos="119"/>
        <p:guide orient="horz" pos="4065"/>
        <p:guide orient="horz" pos="527"/>
        <p:guide orient="horz" pos="1344"/>
        <p:guide pos="270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097190-4A04-40AC-9E0D-E84F63BEF25A}" type="datetimeFigureOut">
              <a:rPr lang="ru-RU" smtClean="0"/>
              <a:t>21.03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9BBE4C-4BC8-4FD6-9EAE-81E7631C6B4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69551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hyperlink" Target="http://www.rusnatt.ru/" TargetMode="External"/><Relationship Id="rId4" Type="http://schemas.openxmlformats.org/officeDocument/2006/relationships/image" Target="../media/image3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usnatt.ru/" TargetMode="External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image" Target="../media/image10.svg"/><Relationship Id="rId7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microsoft.com/office/2007/relationships/hdphoto" Target="../media/hdphoto2.wdp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_без_фото_RUS">
    <p:bg>
      <p:bgPr>
        <a:gradFill>
          <a:gsLst>
            <a:gs pos="0">
              <a:srgbClr val="8ACAEA"/>
            </a:gs>
            <a:gs pos="58000">
              <a:srgbClr val="3185B9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B5571856-3A3F-4011-A20D-C366168EA23C}"/>
              </a:ext>
            </a:extLst>
          </p:cNvPr>
          <p:cNvCxnSpPr>
            <a:cxnSpLocks/>
          </p:cNvCxnSpPr>
          <p:nvPr/>
        </p:nvCxnSpPr>
        <p:spPr>
          <a:xfrm>
            <a:off x="2393931" y="5400384"/>
            <a:ext cx="9036000" cy="0"/>
          </a:xfrm>
          <a:prstGeom prst="line">
            <a:avLst/>
          </a:prstGeom>
          <a:ln w="9525">
            <a:solidFill>
              <a:srgbClr val="1F59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70FE38F8-12C5-4F95-8674-72F1BE3329A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61" y="4361044"/>
            <a:ext cx="1472248" cy="1729549"/>
          </a:xfrm>
          <a:prstGeom prst="rect">
            <a:avLst/>
          </a:prstGeom>
        </p:spPr>
      </p:pic>
      <p:sp>
        <p:nvSpPr>
          <p:cNvPr id="40" name="Заголовок 1">
            <a:extLst>
              <a:ext uri="{FF2B5EF4-FFF2-40B4-BE49-F238E27FC236}">
                <a16:creationId xmlns:a16="http://schemas.microsoft.com/office/drawing/2014/main" id="{9B01F806-E107-40EB-9BD6-7F9226A52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931" y="4015210"/>
            <a:ext cx="9033708" cy="12352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2" name="Текст 41">
            <a:extLst>
              <a:ext uri="{FF2B5EF4-FFF2-40B4-BE49-F238E27FC236}">
                <a16:creationId xmlns:a16="http://schemas.microsoft.com/office/drawing/2014/main" id="{170497C1-4578-4A48-A95C-5709AB2702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1947" y="549194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700" kern="1200" dirty="0" smtClean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мя Спикера</a:t>
            </a:r>
          </a:p>
        </p:txBody>
      </p:sp>
      <p:sp>
        <p:nvSpPr>
          <p:cNvPr id="45" name="Текст 41">
            <a:extLst>
              <a:ext uri="{FF2B5EF4-FFF2-40B4-BE49-F238E27FC236}">
                <a16:creationId xmlns:a16="http://schemas.microsoft.com/office/drawing/2014/main" id="{71E83E54-CF34-47DD-8703-A3ED118797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1947" y="592012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, 2020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342C8F5-ECD9-4765-9D70-9B571204D05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95" y="20103"/>
            <a:ext cx="12176105" cy="4683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2383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овый слайд_ENG"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3B756D3-F027-4873-B4A6-10EC9518DC0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1306" y="4177145"/>
            <a:ext cx="6530706" cy="2680855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F95A857-BEDD-4B71-9BC2-7637F7135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56833" y="6250397"/>
            <a:ext cx="27432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0519701F-51F7-428B-AA3A-0B5D731C629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76463B9-8069-453B-83B9-E7BE689ED4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694" y="371102"/>
            <a:ext cx="10895106" cy="1021416"/>
          </a:xfrm>
        </p:spPr>
        <p:txBody>
          <a:bodyPr anchor="t" anchorCtr="0"/>
          <a:lstStyle>
            <a:lvl1pPr>
              <a:defRPr sz="3000">
                <a:solidFill>
                  <a:srgbClr val="DF2626"/>
                </a:solidFill>
              </a:defRPr>
            </a:lvl1pPr>
          </a:lstStyle>
          <a:p>
            <a:r>
              <a:rPr lang="en-US" dirty="0"/>
              <a:t>Russian National Association </a:t>
            </a:r>
            <a:br>
              <a:rPr lang="en-US" dirty="0"/>
            </a:br>
            <a:r>
              <a:rPr lang="en-US" dirty="0"/>
              <a:t>of Technology Transfer</a:t>
            </a:r>
            <a:endParaRPr lang="ru-RU" dirty="0"/>
          </a:p>
        </p:txBody>
      </p:sp>
      <p:sp>
        <p:nvSpPr>
          <p:cNvPr id="10" name="Объект 2">
            <a:extLst>
              <a:ext uri="{FF2B5EF4-FFF2-40B4-BE49-F238E27FC236}">
                <a16:creationId xmlns:a16="http://schemas.microsoft.com/office/drawing/2014/main" id="{8DEA2143-F504-4901-957B-6DC1D3BBC30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5693" y="1995956"/>
            <a:ext cx="5166177" cy="2744694"/>
          </a:xfrm>
        </p:spPr>
        <p:txBody>
          <a:bodyPr>
            <a:noAutofit/>
          </a:bodyPr>
          <a:lstStyle>
            <a:lvl1pPr marL="0" indent="0" algn="just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20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2877B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ru-RU" dirty="0"/>
              <a:t>Национальная ассоциация трансфера технологий создана в мае 2017 года негосударственным институтом развития «</a:t>
            </a:r>
            <a:r>
              <a:rPr lang="ru-RU" dirty="0" err="1"/>
              <a:t>Иннопрактика</a:t>
            </a:r>
            <a:r>
              <a:rPr lang="ru-RU" dirty="0"/>
              <a:t>» и Федеральной службой по интеллектуальной собственности (Роспатент) с целью содействия реализации Стратегии научно-технологического развития РФ. Ассоциация представляет собой многофункциональную коммуникативную площадку, осуществляющую образовательную, просветительскую и консультационную деятельность в области трансфера технологий. </a:t>
            </a:r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F994182C-542C-4FBB-8AB1-A06C6565B2D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85694" y="1545016"/>
            <a:ext cx="10895106" cy="33029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600" b="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r>
              <a:rPr lang="en-US" dirty="0"/>
              <a:t>Russian National Association of Technology Transfer</a:t>
            </a:r>
            <a:endParaRPr lang="ru-RU" dirty="0"/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82FD41D1-4FC7-4DBD-BA65-D7121E3E919C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018014" y="1995956"/>
            <a:ext cx="5462785" cy="274469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20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r>
              <a:rPr lang="ru-RU" dirty="0"/>
              <a:t>Миссия НАТТ – объединение участников процесса трансфера технологий для налаживания взаимовыгодного сотрудничества и повышения их профессионального уровня. Ключевым преимуществом НАТТ является коллективный поиск решений по усовершенствованию процесса трансфера технологий всеми заинтересованными участниками. </a:t>
            </a:r>
          </a:p>
          <a:p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5261E1C-E3E4-4DE9-99BD-E803D02BCD4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188" y="5408174"/>
            <a:ext cx="1146582" cy="13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72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иски"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C4FADB9-E031-41E9-BE52-4AD54BC3EC5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448" y="5428230"/>
            <a:ext cx="1083202" cy="1269513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76463B9-8069-453B-83B9-E7BE689ED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694" y="371102"/>
            <a:ext cx="10895106" cy="1021416"/>
          </a:xfrm>
        </p:spPr>
        <p:txBody>
          <a:bodyPr anchor="t" anchorCtr="0"/>
          <a:lstStyle>
            <a:lvl1pPr>
              <a:defRPr sz="3000">
                <a:solidFill>
                  <a:srgbClr val="DF2626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0C37EF7-1054-4B25-9F8C-C46998F4F55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1306" y="4177145"/>
            <a:ext cx="6530706" cy="2680855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C70517FC-5879-49D8-89E3-B772905F9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56833" y="6250397"/>
            <a:ext cx="27432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0519701F-51F7-428B-AA3A-0B5D731C629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777F61B3-504B-4B89-AF7F-54AEDC1FACF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85694" y="1476192"/>
            <a:ext cx="4353433" cy="330295"/>
          </a:xfrm>
          <a:solidFill>
            <a:srgbClr val="4096CD"/>
          </a:solidFill>
        </p:spPr>
        <p:txBody>
          <a:bodyPr/>
          <a:lstStyle>
            <a:lvl1pPr marL="0"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600" b="0" baseline="0">
                <a:solidFill>
                  <a:schemeClr val="bg1"/>
                </a:solidFill>
              </a:defRPr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3EEEA015-2DAC-40D3-B706-C5C6E7115F47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06612" y="1937700"/>
            <a:ext cx="4335929" cy="1014676"/>
          </a:xfrm>
        </p:spPr>
        <p:txBody>
          <a:bodyPr>
            <a:noAutofit/>
          </a:bodyPr>
          <a:lstStyle>
            <a:lvl1pPr marL="179388" indent="-179388">
              <a:buClr>
                <a:srgbClr val="256DA3"/>
              </a:buClr>
              <a:buFont typeface="Wingdings" panose="05000000000000000000" pitchFamily="2" charset="2"/>
              <a:buChar char="§"/>
              <a:defRPr lang="ru-RU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>
              <a:buClr>
                <a:srgbClr val="256DA3"/>
              </a:buClr>
              <a:buFont typeface="Wingdings" panose="05000000000000000000" pitchFamily="2" charset="2"/>
              <a:buChar char="§"/>
              <a:def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>
              <a:buClr>
                <a:srgbClr val="256DA3"/>
              </a:buClr>
              <a:buFont typeface="Wingdings" panose="05000000000000000000" pitchFamily="2" charset="2"/>
              <a:buChar char="§"/>
              <a:def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8">
              <a:buClr>
                <a:srgbClr val="256DA3"/>
              </a:buClr>
              <a:buFont typeface="Wingdings" panose="05000000000000000000" pitchFamily="2" charset="2"/>
              <a:buChar char="§"/>
              <a:def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9388">
              <a:buClr>
                <a:srgbClr val="256DA3"/>
              </a:buClr>
              <a:buFont typeface="Wingdings" panose="05000000000000000000" pitchFamily="2" charset="2"/>
              <a:buChar char="§"/>
              <a:def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Пункт списка</a:t>
            </a:r>
          </a:p>
          <a:p>
            <a:pPr lvl="1"/>
            <a:r>
              <a:rPr lang="ru-RU" dirty="0"/>
              <a:t>Пункт списка</a:t>
            </a:r>
          </a:p>
          <a:p>
            <a:pPr lvl="2"/>
            <a:r>
              <a:rPr lang="ru-RU" dirty="0"/>
              <a:t>Пункт списка</a:t>
            </a:r>
          </a:p>
        </p:txBody>
      </p:sp>
    </p:spTree>
    <p:extLst>
      <p:ext uri="{BB962C8B-B14F-4D97-AF65-F5344CB8AC3E}">
        <p14:creationId xmlns:p14="http://schemas.microsoft.com/office/powerpoint/2010/main" val="16269350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екстовый слайд_ENG"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3B756D3-F027-4873-B4A6-10EC9518DC0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1306" y="4177145"/>
            <a:ext cx="6530706" cy="2680855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F95A857-BEDD-4B71-9BC2-7637F7135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56833" y="6250397"/>
            <a:ext cx="27432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0519701F-51F7-428B-AA3A-0B5D731C629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5261E1C-E3E4-4DE9-99BD-E803D02BCD4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188" y="5408174"/>
            <a:ext cx="1146582" cy="13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0152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едуцированный-колонтитул"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3B756D3-F027-4873-B4A6-10EC9518DC0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8716" y="4475747"/>
            <a:ext cx="5803296" cy="2382253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F95A857-BEDD-4B71-9BC2-7637F7135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56833" y="6250397"/>
            <a:ext cx="27432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0519701F-51F7-428B-AA3A-0B5D731C629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99CD96D-EAD6-4EDA-BCD2-BE93D3FC761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878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G_редуцированный-колонтитул"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3B756D3-F027-4873-B4A6-10EC9518DC0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8716" y="4475747"/>
            <a:ext cx="5803296" cy="2382253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F95A857-BEDD-4B71-9BC2-7637F7135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56833" y="6250397"/>
            <a:ext cx="27432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0519701F-51F7-428B-AA3A-0B5D731C629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042B0C7-A0CB-4935-9491-26CB60B90A9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7958" y="5846096"/>
            <a:ext cx="940094" cy="847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4680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">
    <p:bg>
      <p:bgPr>
        <a:solidFill>
          <a:srgbClr val="4096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FA9FC3F-0163-400C-9C9E-8D4FC20E186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220" y="0"/>
            <a:ext cx="12224875" cy="6857634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70FE38F8-12C5-4F95-8674-72F1BE3329A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31648" y="4574876"/>
            <a:ext cx="1412353" cy="1659186"/>
          </a:xfrm>
          <a:prstGeom prst="rect">
            <a:avLst/>
          </a:prstGeom>
        </p:spPr>
      </p:pic>
      <p:sp>
        <p:nvSpPr>
          <p:cNvPr id="45" name="Текст 41">
            <a:extLst>
              <a:ext uri="{FF2B5EF4-FFF2-40B4-BE49-F238E27FC236}">
                <a16:creationId xmlns:a16="http://schemas.microsoft.com/office/drawing/2014/main" id="{71E83E54-CF34-47DD-8703-A3ED118797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56983" y="6021557"/>
            <a:ext cx="2133601" cy="250217"/>
          </a:xfrm>
        </p:spPr>
        <p:txBody>
          <a:bodyPr lIns="0" tIns="0" rIns="0" bIns="0"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, 20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8ED86F9-8FEE-4807-BFB0-00B89A54A590}"/>
              </a:ext>
            </a:extLst>
          </p:cNvPr>
          <p:cNvSpPr txBox="1"/>
          <p:nvPr/>
        </p:nvSpPr>
        <p:spPr>
          <a:xfrm>
            <a:off x="2058802" y="5443070"/>
            <a:ext cx="2022082" cy="351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ts val="2200"/>
              </a:lnSpc>
            </a:pPr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hlinkClick r:id="rId5"/>
              </a:rPr>
              <a:t>www.rusnatt.ru</a:t>
            </a: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4714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_ENG">
    <p:bg>
      <p:bgPr>
        <a:solidFill>
          <a:srgbClr val="4096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FA9FC3F-0163-400C-9C9E-8D4FC20E186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220" y="0"/>
            <a:ext cx="12224875" cy="6857634"/>
          </a:xfrm>
          <a:prstGeom prst="rect">
            <a:avLst/>
          </a:prstGeom>
        </p:spPr>
      </p:pic>
      <p:sp>
        <p:nvSpPr>
          <p:cNvPr id="45" name="Текст 41">
            <a:extLst>
              <a:ext uri="{FF2B5EF4-FFF2-40B4-BE49-F238E27FC236}">
                <a16:creationId xmlns:a16="http://schemas.microsoft.com/office/drawing/2014/main" id="{71E83E54-CF34-47DD-8703-A3ED118797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56983" y="6021557"/>
            <a:ext cx="2133601" cy="250217"/>
          </a:xfrm>
        </p:spPr>
        <p:txBody>
          <a:bodyPr lIns="0" tIns="0" rIns="0" bIns="0"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en-US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scow</a:t>
            </a: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20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8ED86F9-8FEE-4807-BFB0-00B89A54A590}"/>
              </a:ext>
            </a:extLst>
          </p:cNvPr>
          <p:cNvSpPr txBox="1"/>
          <p:nvPr/>
        </p:nvSpPr>
        <p:spPr>
          <a:xfrm>
            <a:off x="2058802" y="5443070"/>
            <a:ext cx="2022082" cy="351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ts val="2200"/>
              </a:lnSpc>
            </a:pPr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hlinkClick r:id="rId3"/>
              </a:rPr>
              <a:t>www.rusnatt.ru</a:t>
            </a: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1F75C1B-1D83-45FF-9503-AF3806F01FF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27313" y="4574876"/>
            <a:ext cx="1444438" cy="1696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2875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0103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007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Обложка_без_фото_ENG">
    <p:bg>
      <p:bgPr>
        <a:gradFill>
          <a:gsLst>
            <a:gs pos="0">
              <a:srgbClr val="8ACAEA"/>
            </a:gs>
            <a:gs pos="58000">
              <a:srgbClr val="3185B9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B5571856-3A3F-4011-A20D-C366168EA23C}"/>
              </a:ext>
            </a:extLst>
          </p:cNvPr>
          <p:cNvCxnSpPr>
            <a:cxnSpLocks/>
          </p:cNvCxnSpPr>
          <p:nvPr/>
        </p:nvCxnSpPr>
        <p:spPr>
          <a:xfrm>
            <a:off x="2393931" y="5400384"/>
            <a:ext cx="9036000" cy="0"/>
          </a:xfrm>
          <a:prstGeom prst="line">
            <a:avLst/>
          </a:prstGeom>
          <a:ln w="9525">
            <a:solidFill>
              <a:srgbClr val="1F59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Заголовок 1">
            <a:extLst>
              <a:ext uri="{FF2B5EF4-FFF2-40B4-BE49-F238E27FC236}">
                <a16:creationId xmlns:a16="http://schemas.microsoft.com/office/drawing/2014/main" id="{9B01F806-E107-40EB-9BD6-7F9226A52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931" y="4015210"/>
            <a:ext cx="9033708" cy="12352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2" name="Текст 41">
            <a:extLst>
              <a:ext uri="{FF2B5EF4-FFF2-40B4-BE49-F238E27FC236}">
                <a16:creationId xmlns:a16="http://schemas.microsoft.com/office/drawing/2014/main" id="{170497C1-4578-4A48-A95C-5709AB2702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1947" y="549194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700" kern="1200" dirty="0" smtClean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мя Спикера</a:t>
            </a:r>
          </a:p>
        </p:txBody>
      </p:sp>
      <p:sp>
        <p:nvSpPr>
          <p:cNvPr id="45" name="Текст 41">
            <a:extLst>
              <a:ext uri="{FF2B5EF4-FFF2-40B4-BE49-F238E27FC236}">
                <a16:creationId xmlns:a16="http://schemas.microsoft.com/office/drawing/2014/main" id="{71E83E54-CF34-47DD-8703-A3ED118797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1947" y="592012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, 2020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342C8F5-ECD9-4765-9D70-9B571204D05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95" y="20103"/>
            <a:ext cx="12176105" cy="4683741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C7FDAE1-CF8D-47EA-B2CF-048A9D874D0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67036" y="4367360"/>
            <a:ext cx="1472248" cy="1729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747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ОбложкаФото1_RUS">
    <p:bg>
      <p:bgPr>
        <a:solidFill>
          <a:srgbClr val="4096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8DA10CC-0CB7-4EE0-BB0A-21E52EBD95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30000"/>
                    </a14:imgEffect>
                    <a14:imgEffect>
                      <a14:saturation sat="39000"/>
                    </a14:imgEffect>
                    <a14:imgEffect>
                      <a14:brightnessContrast bright="13000" contrast="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4380" b="7535"/>
          <a:stretch/>
        </p:blipFill>
        <p:spPr>
          <a:xfrm flipH="1">
            <a:off x="-13922" y="116375"/>
            <a:ext cx="12205922" cy="3789959"/>
          </a:xfrm>
          <a:prstGeom prst="rect">
            <a:avLst/>
          </a:prstGeom>
        </p:spPr>
      </p:pic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84533F12-6317-448B-A050-F96B1463A6AB}"/>
              </a:ext>
            </a:extLst>
          </p:cNvPr>
          <p:cNvCxnSpPr>
            <a:cxnSpLocks/>
          </p:cNvCxnSpPr>
          <p:nvPr/>
        </p:nvCxnSpPr>
        <p:spPr>
          <a:xfrm>
            <a:off x="2393931" y="5400384"/>
            <a:ext cx="9036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025E3B16-64ED-44E0-B13F-1C9FDB1016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3931" y="4097798"/>
            <a:ext cx="9033708" cy="12352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sp>
        <p:nvSpPr>
          <p:cNvPr id="19" name="Текст 41">
            <a:extLst>
              <a:ext uri="{FF2B5EF4-FFF2-40B4-BE49-F238E27FC236}">
                <a16:creationId xmlns:a16="http://schemas.microsoft.com/office/drawing/2014/main" id="{D4ACE49F-6377-4D09-887D-C2030C596E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1947" y="549194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700" kern="1200" dirty="0" smtClean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мя Спикера</a:t>
            </a:r>
          </a:p>
        </p:txBody>
      </p:sp>
      <p:sp>
        <p:nvSpPr>
          <p:cNvPr id="21" name="Текст 41">
            <a:extLst>
              <a:ext uri="{FF2B5EF4-FFF2-40B4-BE49-F238E27FC236}">
                <a16:creationId xmlns:a16="http://schemas.microsoft.com/office/drawing/2014/main" id="{7AA52F83-A220-47C3-96AE-E95E35A8EB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1947" y="592012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, 2020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985FF08-3EA9-49CF-87DD-52F52A0A93E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3532" y="0"/>
            <a:ext cx="12315532" cy="3906334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34494B6-1DB6-4A08-99AF-4377943AB26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64361" y="4361044"/>
            <a:ext cx="1472248" cy="1729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985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">
          <p15:clr>
            <a:srgbClr val="FBAE40"/>
          </p15:clr>
        </p15:guide>
        <p15:guide id="3" orient="horz" pos="254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ОбложкаФото1_ENG">
    <p:bg>
      <p:bgPr>
        <a:solidFill>
          <a:srgbClr val="4096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8DA10CC-0CB7-4EE0-BB0A-21E52EBD95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30000"/>
                    </a14:imgEffect>
                    <a14:imgEffect>
                      <a14:saturation sat="39000"/>
                    </a14:imgEffect>
                    <a14:imgEffect>
                      <a14:brightnessContrast bright="13000" contrast="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4380" b="7535"/>
          <a:stretch/>
        </p:blipFill>
        <p:spPr>
          <a:xfrm flipH="1">
            <a:off x="-13922" y="116375"/>
            <a:ext cx="12205922" cy="3789959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230FF37-EB31-41CA-BC45-24B8D35D4CF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67036" y="4367360"/>
            <a:ext cx="1472248" cy="1729569"/>
          </a:xfrm>
          <a:prstGeom prst="rect">
            <a:avLst/>
          </a:prstGeom>
        </p:spPr>
      </p:pic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84533F12-6317-448B-A050-F96B1463A6AB}"/>
              </a:ext>
            </a:extLst>
          </p:cNvPr>
          <p:cNvCxnSpPr>
            <a:cxnSpLocks/>
          </p:cNvCxnSpPr>
          <p:nvPr/>
        </p:nvCxnSpPr>
        <p:spPr>
          <a:xfrm>
            <a:off x="2393931" y="5400384"/>
            <a:ext cx="9036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025E3B16-64ED-44E0-B13F-1C9FDB1016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3931" y="4097798"/>
            <a:ext cx="9033708" cy="12352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EL OF PRESENTATION</a:t>
            </a:r>
            <a:endParaRPr lang="ru-RU" dirty="0"/>
          </a:p>
        </p:txBody>
      </p:sp>
      <p:sp>
        <p:nvSpPr>
          <p:cNvPr id="19" name="Текст 41">
            <a:extLst>
              <a:ext uri="{FF2B5EF4-FFF2-40B4-BE49-F238E27FC236}">
                <a16:creationId xmlns:a16="http://schemas.microsoft.com/office/drawing/2014/main" id="{D4ACE49F-6377-4D09-887D-C2030C596E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1947" y="549194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700" kern="1200" dirty="0" smtClean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мя Спикера</a:t>
            </a:r>
          </a:p>
        </p:txBody>
      </p:sp>
      <p:sp>
        <p:nvSpPr>
          <p:cNvPr id="21" name="Текст 41">
            <a:extLst>
              <a:ext uri="{FF2B5EF4-FFF2-40B4-BE49-F238E27FC236}">
                <a16:creationId xmlns:a16="http://schemas.microsoft.com/office/drawing/2014/main" id="{7AA52F83-A220-47C3-96AE-E95E35A8EB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1947" y="592012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, 2020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985FF08-3EA9-49CF-87DD-52F52A0A93E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3532" y="0"/>
            <a:ext cx="12315532" cy="3906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948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">
          <p15:clr>
            <a:srgbClr val="FBAE40"/>
          </p15:clr>
        </p15:guide>
        <p15:guide id="3" orient="horz" pos="254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ОбложкаФото2_RUS">
    <p:bg>
      <p:bgPr>
        <a:solidFill>
          <a:srgbClr val="DF26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84533F12-6317-448B-A050-F96B1463A6AB}"/>
              </a:ext>
            </a:extLst>
          </p:cNvPr>
          <p:cNvCxnSpPr>
            <a:cxnSpLocks/>
          </p:cNvCxnSpPr>
          <p:nvPr/>
        </p:nvCxnSpPr>
        <p:spPr>
          <a:xfrm>
            <a:off x="2393931" y="5400384"/>
            <a:ext cx="9036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6903EF04-CD90-474C-B3AC-1571C942F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3931" y="4097798"/>
            <a:ext cx="9033708" cy="12352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sp>
        <p:nvSpPr>
          <p:cNvPr id="18" name="Текст 41">
            <a:extLst>
              <a:ext uri="{FF2B5EF4-FFF2-40B4-BE49-F238E27FC236}">
                <a16:creationId xmlns:a16="http://schemas.microsoft.com/office/drawing/2014/main" id="{ADA112E8-B783-4FD1-AE03-4953EB736B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1947" y="549194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700" kern="1200" dirty="0" smtClean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мя Спикера</a:t>
            </a:r>
          </a:p>
        </p:txBody>
      </p:sp>
      <p:sp>
        <p:nvSpPr>
          <p:cNvPr id="19" name="Текст 41">
            <a:extLst>
              <a:ext uri="{FF2B5EF4-FFF2-40B4-BE49-F238E27FC236}">
                <a16:creationId xmlns:a16="http://schemas.microsoft.com/office/drawing/2014/main" id="{D9D5139C-FC67-486A-A61D-568E3E9B0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1947" y="592012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, 2020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4CF7645-FAEB-48DA-B90D-3E58DCE85B9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V="1">
            <a:off x="0" y="220985"/>
            <a:ext cx="12178078" cy="383744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14B5B78-DE3A-43E7-AB65-D23B669778B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955"/>
          <a:stretch/>
        </p:blipFill>
        <p:spPr>
          <a:xfrm>
            <a:off x="-16627" y="220984"/>
            <a:ext cx="12220139" cy="3697081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0BEABA6-893E-4384-B22A-322F4E8A601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3532" y="0"/>
            <a:ext cx="12333342" cy="391806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F3E790E-1D81-4C0F-8467-9B1988C5AE6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764361" y="4361044"/>
            <a:ext cx="1472248" cy="1729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5619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ОбложкаФото2_RUS">
    <p:bg>
      <p:bgPr>
        <a:solidFill>
          <a:srgbClr val="4096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84533F12-6317-448B-A050-F96B1463A6AB}"/>
              </a:ext>
            </a:extLst>
          </p:cNvPr>
          <p:cNvCxnSpPr>
            <a:cxnSpLocks/>
          </p:cNvCxnSpPr>
          <p:nvPr/>
        </p:nvCxnSpPr>
        <p:spPr>
          <a:xfrm>
            <a:off x="2393931" y="5400384"/>
            <a:ext cx="9036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6903EF04-CD90-474C-B3AC-1571C942F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3931" y="4097798"/>
            <a:ext cx="9033708" cy="12352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sp>
        <p:nvSpPr>
          <p:cNvPr id="18" name="Текст 41">
            <a:extLst>
              <a:ext uri="{FF2B5EF4-FFF2-40B4-BE49-F238E27FC236}">
                <a16:creationId xmlns:a16="http://schemas.microsoft.com/office/drawing/2014/main" id="{ADA112E8-B783-4FD1-AE03-4953EB736B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1947" y="549194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700" kern="1200" dirty="0" smtClean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мя Спикера</a:t>
            </a:r>
          </a:p>
        </p:txBody>
      </p:sp>
      <p:sp>
        <p:nvSpPr>
          <p:cNvPr id="19" name="Текст 41">
            <a:extLst>
              <a:ext uri="{FF2B5EF4-FFF2-40B4-BE49-F238E27FC236}">
                <a16:creationId xmlns:a16="http://schemas.microsoft.com/office/drawing/2014/main" id="{D9D5139C-FC67-486A-A61D-568E3E9B0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1947" y="592012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, 2020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14B5B78-DE3A-43E7-AB65-D23B669778B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955"/>
          <a:stretch/>
        </p:blipFill>
        <p:spPr>
          <a:xfrm>
            <a:off x="-16627" y="220984"/>
            <a:ext cx="12220139" cy="3697081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0BEABA6-893E-4384-B22A-322F4E8A601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3532" y="0"/>
            <a:ext cx="12333342" cy="391806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F3E790E-1D81-4C0F-8467-9B1988C5AE6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64361" y="4361044"/>
            <a:ext cx="1472248" cy="1729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6254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Фото2_ENG">
    <p:bg>
      <p:bgPr>
        <a:solidFill>
          <a:srgbClr val="DF26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230FF37-EB31-41CA-BC45-24B8D35D4CF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7036" y="4367360"/>
            <a:ext cx="1472248" cy="1729569"/>
          </a:xfrm>
          <a:prstGeom prst="rect">
            <a:avLst/>
          </a:prstGeom>
        </p:spPr>
      </p:pic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84533F12-6317-448B-A050-F96B1463A6AB}"/>
              </a:ext>
            </a:extLst>
          </p:cNvPr>
          <p:cNvCxnSpPr>
            <a:cxnSpLocks/>
          </p:cNvCxnSpPr>
          <p:nvPr/>
        </p:nvCxnSpPr>
        <p:spPr>
          <a:xfrm>
            <a:off x="2393931" y="5400384"/>
            <a:ext cx="9036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6903EF04-CD90-474C-B3AC-1571C942F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3931" y="4097798"/>
            <a:ext cx="9033708" cy="12352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EL OF PRESENTATION</a:t>
            </a:r>
            <a:endParaRPr lang="ru-RU" dirty="0"/>
          </a:p>
        </p:txBody>
      </p:sp>
      <p:sp>
        <p:nvSpPr>
          <p:cNvPr id="18" name="Текст 41">
            <a:extLst>
              <a:ext uri="{FF2B5EF4-FFF2-40B4-BE49-F238E27FC236}">
                <a16:creationId xmlns:a16="http://schemas.microsoft.com/office/drawing/2014/main" id="{ADA112E8-B783-4FD1-AE03-4953EB736B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1947" y="549194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700" kern="1200" dirty="0" smtClean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мя Спикера</a:t>
            </a:r>
          </a:p>
        </p:txBody>
      </p:sp>
      <p:sp>
        <p:nvSpPr>
          <p:cNvPr id="19" name="Текст 41">
            <a:extLst>
              <a:ext uri="{FF2B5EF4-FFF2-40B4-BE49-F238E27FC236}">
                <a16:creationId xmlns:a16="http://schemas.microsoft.com/office/drawing/2014/main" id="{D9D5139C-FC67-486A-A61D-568E3E9B0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1947" y="5920122"/>
            <a:ext cx="5504450" cy="407414"/>
          </a:xfrm>
        </p:spPr>
        <p:txBody>
          <a:bodyPr/>
          <a:lstStyle>
            <a:lvl1pPr algn="r">
              <a:buFontTx/>
              <a:buNone/>
              <a:defRPr lang="ru-RU" sz="1100" kern="1200" dirty="0" smtClean="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algn="r">
              <a:lnSpc>
                <a:spcPts val="2200"/>
              </a:lnSpc>
            </a:pPr>
            <a:r>
              <a:rPr lang="ru-RU" dirty="0">
                <a:solidFill>
                  <a:srgbClr val="D9DBD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, 2020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4CF7645-FAEB-48DA-B90D-3E58DCE85B9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 flipV="1">
            <a:off x="0" y="220985"/>
            <a:ext cx="12178078" cy="383744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14B5B78-DE3A-43E7-AB65-D23B669778B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7955"/>
          <a:stretch/>
        </p:blipFill>
        <p:spPr>
          <a:xfrm>
            <a:off x="-16627" y="220984"/>
            <a:ext cx="12220139" cy="3697081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0BEABA6-893E-4384-B22A-322F4E8A601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3532" y="0"/>
            <a:ext cx="12333342" cy="391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2294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екстовый слайд_RUS"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3B756D3-F027-4873-B4A6-10EC9518DC0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1306" y="4177145"/>
            <a:ext cx="6530706" cy="2680855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C4FADB9-E031-41E9-BE52-4AD54BC3EC5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448" y="5428230"/>
            <a:ext cx="1083202" cy="1269513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F95A857-BEDD-4B71-9BC2-7637F7135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56833" y="6250397"/>
            <a:ext cx="27432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0519701F-51F7-428B-AA3A-0B5D731C629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76463B9-8069-453B-83B9-E7BE689ED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694" y="371102"/>
            <a:ext cx="10895106" cy="1021416"/>
          </a:xfrm>
        </p:spPr>
        <p:txBody>
          <a:bodyPr anchor="t" anchorCtr="0"/>
          <a:lstStyle>
            <a:lvl1pPr>
              <a:defRPr sz="3000">
                <a:solidFill>
                  <a:srgbClr val="DF2626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Объект 2">
            <a:extLst>
              <a:ext uri="{FF2B5EF4-FFF2-40B4-BE49-F238E27FC236}">
                <a16:creationId xmlns:a16="http://schemas.microsoft.com/office/drawing/2014/main" id="{8DEA2143-F504-4901-957B-6DC1D3BBC30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5693" y="1995956"/>
            <a:ext cx="5166177" cy="2744694"/>
          </a:xfrm>
        </p:spPr>
        <p:txBody>
          <a:bodyPr>
            <a:noAutofit/>
          </a:bodyPr>
          <a:lstStyle>
            <a:lvl1pPr marL="0" indent="0" algn="just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20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2877B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ru-RU" dirty="0"/>
              <a:t>Национальная ассоциация трансфера технологий создана в мае 2017 года негосударственным институтом развития «</a:t>
            </a:r>
            <a:r>
              <a:rPr lang="ru-RU" dirty="0" err="1"/>
              <a:t>Иннопрактика</a:t>
            </a:r>
            <a:r>
              <a:rPr lang="ru-RU" dirty="0"/>
              <a:t>» и Федеральной службой по интеллектуальной собственности (Роспатент) с целью содействия реализации Стратегии научно-технологического развития РФ. Ассоциация представляет собой многофункциональную коммуникативную площадку, осуществляющую образовательную, просветительскую и консультационную деятельность в области трансфера технологий. </a:t>
            </a:r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F994182C-542C-4FBB-8AB1-A06C6565B2D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85694" y="1545016"/>
            <a:ext cx="10895106" cy="33029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600" b="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82FD41D1-4FC7-4DBD-BA65-D7121E3E919C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018014" y="1995956"/>
            <a:ext cx="5462785" cy="274469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20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r>
              <a:rPr lang="ru-RU" dirty="0"/>
              <a:t>Миссия НАТТ – объединение участников процесса трансфера технологий для налаживания взаимовыгодного сотрудничества и повышения их профессионального уровня. Ключевым преимуществом НАТТ является коллективный поиск решений по усовершенствованию процесса трансфера технологий всеми заинтересованными участниками.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07917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!"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76463B9-8069-453B-83B9-E7BE689ED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694" y="371102"/>
            <a:ext cx="10895106" cy="1021416"/>
          </a:xfrm>
        </p:spPr>
        <p:txBody>
          <a:bodyPr anchor="t" anchorCtr="0"/>
          <a:lstStyle>
            <a:lvl1pPr>
              <a:defRPr sz="3000">
                <a:solidFill>
                  <a:srgbClr val="DF2626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Объект 2">
            <a:extLst>
              <a:ext uri="{FF2B5EF4-FFF2-40B4-BE49-F238E27FC236}">
                <a16:creationId xmlns:a16="http://schemas.microsoft.com/office/drawing/2014/main" id="{8DEA2143-F504-4901-957B-6DC1D3BBC30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5693" y="1995956"/>
            <a:ext cx="5166177" cy="2744694"/>
          </a:xfrm>
        </p:spPr>
        <p:txBody>
          <a:bodyPr>
            <a:noAutofit/>
          </a:bodyPr>
          <a:lstStyle>
            <a:lvl1pPr marL="0" indent="0" algn="just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20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2877B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ru-RU" dirty="0"/>
              <a:t>Национальная ассоциация трансфера технологий создана в мае 2017 года негосударственным институтом развития «</a:t>
            </a:r>
            <a:r>
              <a:rPr lang="ru-RU" dirty="0" err="1"/>
              <a:t>Иннопрактика</a:t>
            </a:r>
            <a:r>
              <a:rPr lang="ru-RU" dirty="0"/>
              <a:t>» и Федеральной службой по интеллектуальной собственности (Роспатент) с целью содействия реализации Стратегии научно-технологического развития РФ. Ассоциация представляет собой многофункциональную коммуникативную площадку, осуществляющую образовательную, просветительскую и консультационную деятельность в области трансфера технологий. </a:t>
            </a:r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F994182C-542C-4FBB-8AB1-A06C6565B2D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85694" y="1545016"/>
            <a:ext cx="10895106" cy="33029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600" b="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82FD41D1-4FC7-4DBD-BA65-D7121E3E919C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018014" y="1995956"/>
            <a:ext cx="5462785" cy="274469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200" baseline="0"/>
            </a:lvl1pPr>
            <a:lvl2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</a:lstStyle>
          <a:p>
            <a:r>
              <a:rPr lang="ru-RU" dirty="0"/>
              <a:t>Миссия НАТТ – объединение участников процесса трансфера технологий для налаживания взаимовыгодного сотрудничества и повышения их профессионального уровня. Ключевым преимуществом НАТТ является коллективный поиск решений по усовершенствованию процесса трансфера технологий всеми заинтересованными участниками. </a:t>
            </a:r>
          </a:p>
          <a:p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0738618-ACD9-435B-B1B3-1E0CC7214F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8716" y="4475747"/>
            <a:ext cx="5803296" cy="2382253"/>
          </a:xfrm>
          <a:prstGeom prst="rect">
            <a:avLst/>
          </a:prstGeom>
        </p:spPr>
      </p:pic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292E30BE-E368-4D18-89AA-E3F50269C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56833" y="6250397"/>
            <a:ext cx="27432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0519701F-51F7-428B-AA3A-0B5D731C629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49886B4-7EAA-483B-AF4F-F9F9CE665A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97" y="5871820"/>
            <a:ext cx="886533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8038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487998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Слайд think-cell" r:id="rId22" imgW="473" imgH="473" progId="TCLayout.ActiveDocument.1">
                  <p:embed/>
                </p:oleObj>
              </mc:Choice>
              <mc:Fallback>
                <p:oleObj name="Слайд think-cell" r:id="rId22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68F5E558-41D7-4DE1-83D0-482EA501A423}"/>
              </a:ext>
            </a:extLst>
          </p:cNvPr>
          <p:cNvSpPr/>
          <p:nvPr/>
        </p:nvSpPr>
        <p:spPr>
          <a:xfrm>
            <a:off x="-676103" y="2453359"/>
            <a:ext cx="616349" cy="23271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4B27A9D1-EB15-4EFD-BCAF-1E6E1FCB72FA}"/>
              </a:ext>
            </a:extLst>
          </p:cNvPr>
          <p:cNvSpPr/>
          <p:nvPr/>
        </p:nvSpPr>
        <p:spPr>
          <a:xfrm>
            <a:off x="-676102" y="0"/>
            <a:ext cx="616349" cy="1921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CC436D5-7B0C-4D07-9AE7-F0BAD182A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E5AF24D-4B70-422C-B8C9-EA37F18C9B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46A768B-36DB-4ADA-B2EA-437588831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AA32CAA-5C70-498B-9A7C-081059EE01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9F26419-2933-41E3-890C-B4EBFB9D48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19701F-51F7-428B-AA3A-0B5D731C629E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48D371F-50D8-4487-A440-8A6C11BAEBBF}"/>
              </a:ext>
            </a:extLst>
          </p:cNvPr>
          <p:cNvSpPr/>
          <p:nvPr/>
        </p:nvSpPr>
        <p:spPr>
          <a:xfrm>
            <a:off x="-568189" y="249749"/>
            <a:ext cx="286357" cy="286357"/>
          </a:xfrm>
          <a:prstGeom prst="rect">
            <a:avLst/>
          </a:prstGeom>
          <a:solidFill>
            <a:srgbClr val="4096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318B2D7-9235-47A6-95F3-230FA8B51264}"/>
              </a:ext>
            </a:extLst>
          </p:cNvPr>
          <p:cNvSpPr/>
          <p:nvPr/>
        </p:nvSpPr>
        <p:spPr>
          <a:xfrm>
            <a:off x="-568190" y="815809"/>
            <a:ext cx="286357" cy="286357"/>
          </a:xfrm>
          <a:prstGeom prst="rect">
            <a:avLst/>
          </a:prstGeom>
          <a:solidFill>
            <a:srgbClr val="DF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53057F6-26A4-4716-964C-9BB1BC84035F}"/>
              </a:ext>
            </a:extLst>
          </p:cNvPr>
          <p:cNvSpPr/>
          <p:nvPr/>
        </p:nvSpPr>
        <p:spPr>
          <a:xfrm>
            <a:off x="-568190" y="1381869"/>
            <a:ext cx="286357" cy="286357"/>
          </a:xfrm>
          <a:prstGeom prst="rect">
            <a:avLst/>
          </a:prstGeom>
          <a:solidFill>
            <a:srgbClr val="D9D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197894E2-461A-4C10-9F9B-285A8B9830B4}"/>
              </a:ext>
            </a:extLst>
          </p:cNvPr>
          <p:cNvSpPr/>
          <p:nvPr/>
        </p:nvSpPr>
        <p:spPr>
          <a:xfrm>
            <a:off x="-581507" y="2638766"/>
            <a:ext cx="286357" cy="286357"/>
          </a:xfrm>
          <a:prstGeom prst="rect">
            <a:avLst/>
          </a:prstGeom>
          <a:solidFill>
            <a:srgbClr val="256D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6AA1FF50-6AAC-4176-9892-7A5A0A305ACA}"/>
              </a:ext>
            </a:extLst>
          </p:cNvPr>
          <p:cNvSpPr/>
          <p:nvPr/>
        </p:nvSpPr>
        <p:spPr>
          <a:xfrm>
            <a:off x="-581508" y="3204826"/>
            <a:ext cx="286357" cy="286357"/>
          </a:xfrm>
          <a:prstGeom prst="rect">
            <a:avLst/>
          </a:prstGeom>
          <a:solidFill>
            <a:srgbClr val="8AC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2CBDA4B-06F2-4227-9C68-BF5C18E68E6C}"/>
              </a:ext>
            </a:extLst>
          </p:cNvPr>
          <p:cNvSpPr/>
          <p:nvPr/>
        </p:nvSpPr>
        <p:spPr>
          <a:xfrm>
            <a:off x="-581508" y="3770886"/>
            <a:ext cx="286357" cy="286357"/>
          </a:xfrm>
          <a:prstGeom prst="rect">
            <a:avLst/>
          </a:prstGeom>
          <a:solidFill>
            <a:srgbClr val="A6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98EF6033-D0CD-4B46-B5C6-1176E9D297DA}"/>
              </a:ext>
            </a:extLst>
          </p:cNvPr>
          <p:cNvSpPr/>
          <p:nvPr/>
        </p:nvSpPr>
        <p:spPr>
          <a:xfrm>
            <a:off x="-587706" y="4336946"/>
            <a:ext cx="286357" cy="286357"/>
          </a:xfrm>
          <a:prstGeom prst="rect">
            <a:avLst/>
          </a:prstGeom>
          <a:solidFill>
            <a:srgbClr val="F29B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7742CA03-8651-4065-A2BB-84791915E68B}"/>
              </a:ext>
            </a:extLst>
          </p:cNvPr>
          <p:cNvSpPr/>
          <p:nvPr/>
        </p:nvSpPr>
        <p:spPr>
          <a:xfrm>
            <a:off x="-587706" y="5998873"/>
            <a:ext cx="286357" cy="286357"/>
          </a:xfrm>
          <a:prstGeom prst="rect">
            <a:avLst/>
          </a:prstGeom>
          <a:solidFill>
            <a:srgbClr val="C6E6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FCEE384F-406F-409C-BD5B-3CC9636F2749}"/>
              </a:ext>
            </a:extLst>
          </p:cNvPr>
          <p:cNvSpPr/>
          <p:nvPr/>
        </p:nvSpPr>
        <p:spPr>
          <a:xfrm>
            <a:off x="-587706" y="6548690"/>
            <a:ext cx="286357" cy="286357"/>
          </a:xfrm>
          <a:prstGeom prst="rect">
            <a:avLst/>
          </a:prstGeom>
          <a:solidFill>
            <a:srgbClr val="B0A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3B8049C-3559-4B03-8F19-1DB2F080BB7F}"/>
              </a:ext>
            </a:extLst>
          </p:cNvPr>
          <p:cNvSpPr txBox="1"/>
          <p:nvPr/>
        </p:nvSpPr>
        <p:spPr>
          <a:xfrm rot="16200000">
            <a:off x="-3225965" y="2330249"/>
            <a:ext cx="478047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chemeClr val="tx1"/>
                </a:solidFill>
              </a:rPr>
              <a:t>Для удобства окрашивания объектов при использовании «пипетки»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37524A5-36E7-45EF-8051-D787B08FADB2}"/>
              </a:ext>
            </a:extLst>
          </p:cNvPr>
          <p:cNvSpPr txBox="1"/>
          <p:nvPr/>
        </p:nvSpPr>
        <p:spPr>
          <a:xfrm rot="16200000">
            <a:off x="-596599" y="1268845"/>
            <a:ext cx="8274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chemeClr val="bg1">
                    <a:lumMod val="65000"/>
                  </a:schemeClr>
                </a:solidFill>
              </a:rPr>
              <a:t>Основная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F21B7D9-9C62-4DE1-915E-81EE7B25F771}"/>
              </a:ext>
            </a:extLst>
          </p:cNvPr>
          <p:cNvSpPr txBox="1"/>
          <p:nvPr/>
        </p:nvSpPr>
        <p:spPr>
          <a:xfrm rot="16200000">
            <a:off x="-829835" y="3967712"/>
            <a:ext cx="12939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chemeClr val="bg1">
                    <a:lumMod val="65000"/>
                  </a:schemeClr>
                </a:solidFill>
              </a:rPr>
              <a:t>Дополнительная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A071F72-822D-44B2-B1C4-5D2A75A2B92A}"/>
              </a:ext>
            </a:extLst>
          </p:cNvPr>
          <p:cNvSpPr txBox="1"/>
          <p:nvPr/>
        </p:nvSpPr>
        <p:spPr>
          <a:xfrm rot="16200000">
            <a:off x="-947655" y="6023726"/>
            <a:ext cx="15295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chemeClr val="bg1">
                    <a:lumMod val="65000"/>
                  </a:schemeClr>
                </a:solidFill>
              </a:rPr>
              <a:t>Для редких случаев</a:t>
            </a:r>
          </a:p>
        </p:txBody>
      </p:sp>
    </p:spTree>
    <p:extLst>
      <p:ext uri="{BB962C8B-B14F-4D97-AF65-F5344CB8AC3E}">
        <p14:creationId xmlns:p14="http://schemas.microsoft.com/office/powerpoint/2010/main" val="1654183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0" r:id="rId2"/>
    <p:sldLayoutId id="2147483663" r:id="rId3"/>
    <p:sldLayoutId id="2147483671" r:id="rId4"/>
    <p:sldLayoutId id="2147483672" r:id="rId5"/>
    <p:sldLayoutId id="2147483682" r:id="rId6"/>
    <p:sldLayoutId id="2147483664" r:id="rId7"/>
    <p:sldLayoutId id="2147483668" r:id="rId8"/>
    <p:sldLayoutId id="2147483683" r:id="rId9"/>
    <p:sldLayoutId id="2147483673" r:id="rId10"/>
    <p:sldLayoutId id="2147483669" r:id="rId11"/>
    <p:sldLayoutId id="2147483675" r:id="rId12"/>
    <p:sldLayoutId id="2147483676" r:id="rId13"/>
    <p:sldLayoutId id="2147483677" r:id="rId14"/>
    <p:sldLayoutId id="2147483667" r:id="rId15"/>
    <p:sldLayoutId id="2147483674" r:id="rId16"/>
    <p:sldLayoutId id="2147483679" r:id="rId17"/>
    <p:sldLayoutId id="2147483681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8"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19701F-51F7-428B-AA3A-0B5D731C629E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DFCBB342-5A1C-4BFF-A0AC-A5E50DEF64E8}"/>
              </a:ext>
            </a:extLst>
          </p:cNvPr>
          <p:cNvSpPr txBox="1">
            <a:spLocks/>
          </p:cNvSpPr>
          <p:nvPr/>
        </p:nvSpPr>
        <p:spPr>
          <a:xfrm>
            <a:off x="600305" y="260648"/>
            <a:ext cx="11075755" cy="477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chemeClr val="accent4"/>
                </a:solidFill>
                <a:latin typeface="Verdana"/>
                <a:ea typeface="Verdana"/>
                <a:sym typeface="Verdana"/>
              </a:rPr>
              <a:t>Структура презентации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B163E9C-D325-5E50-900C-AC04FB2F13E4}"/>
              </a:ext>
            </a:extLst>
          </p:cNvPr>
          <p:cNvSpPr/>
          <p:nvPr/>
        </p:nvSpPr>
        <p:spPr>
          <a:xfrm>
            <a:off x="515939" y="260648"/>
            <a:ext cx="91263" cy="504000"/>
          </a:xfrm>
          <a:prstGeom prst="rect">
            <a:avLst/>
          </a:prstGeom>
          <a:gradFill>
            <a:gsLst>
              <a:gs pos="0">
                <a:srgbClr val="4096CD"/>
              </a:gs>
              <a:gs pos="13000">
                <a:srgbClr val="4096CD"/>
              </a:gs>
              <a:gs pos="71000">
                <a:srgbClr val="256DA3"/>
              </a:gs>
              <a:gs pos="100000">
                <a:srgbClr val="256DA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lang="ru-RU" sz="1200" b="1">
              <a:solidFill>
                <a:srgbClr val="FFFFFF"/>
              </a:solidFill>
              <a:latin typeface="Verdana"/>
              <a:ea typeface="Verdan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8211269-165D-4F5F-AC3E-A4CCDDF5EAEB}"/>
              </a:ext>
            </a:extLst>
          </p:cNvPr>
          <p:cNvSpPr txBox="1"/>
          <p:nvPr/>
        </p:nvSpPr>
        <p:spPr>
          <a:xfrm>
            <a:off x="263352" y="1484784"/>
            <a:ext cx="12071781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ru-RU" dirty="0"/>
              <a:t>Титульный слайд</a:t>
            </a:r>
          </a:p>
          <a:p>
            <a:pPr marL="342900" indent="-342900">
              <a:buAutoNum type="arabicPeriod"/>
            </a:pPr>
            <a:r>
              <a:rPr lang="ru-RU" dirty="0"/>
              <a:t>Проблематика</a:t>
            </a:r>
          </a:p>
          <a:p>
            <a:pPr marL="342900" indent="-342900">
              <a:buAutoNum type="arabicPeriod"/>
            </a:pPr>
            <a:r>
              <a:rPr lang="ru-RU" dirty="0"/>
              <a:t>Предлагаемое решение (технология/продукт)</a:t>
            </a:r>
          </a:p>
          <a:p>
            <a:pPr marL="342900" indent="-342900">
              <a:buAutoNum type="arabicPeriod"/>
            </a:pPr>
            <a:r>
              <a:rPr lang="ru-RU" dirty="0"/>
              <a:t>Уровень готовности решения и имеющиеся достижения</a:t>
            </a:r>
          </a:p>
          <a:p>
            <a:pPr marL="342900" indent="-342900">
              <a:buAutoNum type="arabicPeriod"/>
            </a:pPr>
            <a:r>
              <a:rPr lang="ru-RU" dirty="0"/>
              <a:t>Возможные сферы применения, потенциальные заказчики и ожидаемые эффекты внедрения</a:t>
            </a:r>
          </a:p>
          <a:p>
            <a:pPr marL="342900" indent="-342900">
              <a:buAutoNum type="arabicPeriod"/>
            </a:pPr>
            <a:r>
              <a:rPr lang="ru-RU" dirty="0"/>
              <a:t>Сравнение с аналогами</a:t>
            </a:r>
          </a:p>
          <a:p>
            <a:pPr marL="342900" indent="-342900">
              <a:buAutoNum type="arabicPeriod"/>
            </a:pPr>
            <a:r>
              <a:rPr lang="ru-RU" dirty="0"/>
              <a:t>Команда (существующие и недостающие компетенции)</a:t>
            </a:r>
          </a:p>
          <a:p>
            <a:pPr marL="342900" indent="-342900">
              <a:buAutoNum type="arabicPeriod"/>
            </a:pPr>
            <a:r>
              <a:rPr lang="ru-RU" dirty="0"/>
              <a:t>В чем требуется содействие со стороны НАТТ и комиссии?</a:t>
            </a:r>
          </a:p>
          <a:p>
            <a:pPr marL="342900" indent="-342900">
              <a:buAutoNum type="arabicPeriod"/>
            </a:pPr>
            <a:r>
              <a:rPr lang="ru-RU" dirty="0"/>
              <a:t>Контакты для обратной связи</a:t>
            </a:r>
          </a:p>
        </p:txBody>
      </p:sp>
    </p:spTree>
    <p:extLst>
      <p:ext uri="{BB962C8B-B14F-4D97-AF65-F5344CB8AC3E}">
        <p14:creationId xmlns:p14="http://schemas.microsoft.com/office/powerpoint/2010/main" val="16575981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7"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19701F-51F7-428B-AA3A-0B5D731C629E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DFCBB342-5A1C-4BFF-A0AC-A5E50DEF64E8}"/>
              </a:ext>
            </a:extLst>
          </p:cNvPr>
          <p:cNvSpPr txBox="1">
            <a:spLocks/>
          </p:cNvSpPr>
          <p:nvPr/>
        </p:nvSpPr>
        <p:spPr>
          <a:xfrm>
            <a:off x="600305" y="260648"/>
            <a:ext cx="11075755" cy="477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chemeClr val="accent4"/>
                </a:solidFill>
                <a:latin typeface="Verdana"/>
                <a:ea typeface="Verdana"/>
                <a:sym typeface="Verdana"/>
              </a:rPr>
              <a:t>9. Контакты для обратной связи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B163E9C-D325-5E50-900C-AC04FB2F13E4}"/>
              </a:ext>
            </a:extLst>
          </p:cNvPr>
          <p:cNvSpPr/>
          <p:nvPr/>
        </p:nvSpPr>
        <p:spPr>
          <a:xfrm>
            <a:off x="515939" y="260648"/>
            <a:ext cx="91263" cy="504000"/>
          </a:xfrm>
          <a:prstGeom prst="rect">
            <a:avLst/>
          </a:prstGeom>
          <a:gradFill>
            <a:gsLst>
              <a:gs pos="0">
                <a:srgbClr val="4096CD"/>
              </a:gs>
              <a:gs pos="13000">
                <a:srgbClr val="4096CD"/>
              </a:gs>
              <a:gs pos="71000">
                <a:srgbClr val="256DA3"/>
              </a:gs>
              <a:gs pos="100000">
                <a:srgbClr val="256DA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lang="ru-RU" sz="1200" b="1">
              <a:solidFill>
                <a:srgbClr val="FFFFFF"/>
              </a:solidFill>
              <a:latin typeface="Verdana"/>
              <a:ea typeface="Verdana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418C8A-DE28-4DA1-B1D4-118A5585FC53}"/>
              </a:ext>
            </a:extLst>
          </p:cNvPr>
          <p:cNvSpPr txBox="1"/>
          <p:nvPr/>
        </p:nvSpPr>
        <p:spPr>
          <a:xfrm>
            <a:off x="492901" y="1671903"/>
            <a:ext cx="11393454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Укажите ФИО, должность человека для связ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Убедитесь, что приведены актуальные телефон и </a:t>
            </a:r>
            <a:r>
              <a:rPr lang="en-US" sz="2200" dirty="0"/>
              <a:t>email</a:t>
            </a:r>
            <a:endParaRPr lang="ru-RU" sz="2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Укажите через какие мессенджеры (привязанные к номеру телефона) с Вами можно контактироват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Укажите ссылку на сайт проекта (если имеется) или дополнительные информационные ресурсы, на которых моно более подробно ознакомиться с Вашим предложением</a:t>
            </a:r>
          </a:p>
        </p:txBody>
      </p:sp>
    </p:spTree>
    <p:extLst>
      <p:ext uri="{BB962C8B-B14F-4D97-AF65-F5344CB8AC3E}">
        <p14:creationId xmlns:p14="http://schemas.microsoft.com/office/powerpoint/2010/main" val="21331473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19701F-51F7-428B-AA3A-0B5D731C629E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DFCBB342-5A1C-4BFF-A0AC-A5E50DEF64E8}"/>
              </a:ext>
            </a:extLst>
          </p:cNvPr>
          <p:cNvSpPr txBox="1">
            <a:spLocks/>
          </p:cNvSpPr>
          <p:nvPr/>
        </p:nvSpPr>
        <p:spPr>
          <a:xfrm>
            <a:off x="600305" y="260648"/>
            <a:ext cx="11075755" cy="477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chemeClr val="accent4"/>
                </a:solidFill>
                <a:latin typeface="Verdana"/>
                <a:ea typeface="Verdana"/>
                <a:sym typeface="Verdana"/>
              </a:rPr>
              <a:t>1. Титульный слайд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B163E9C-D325-5E50-900C-AC04FB2F13E4}"/>
              </a:ext>
            </a:extLst>
          </p:cNvPr>
          <p:cNvSpPr/>
          <p:nvPr/>
        </p:nvSpPr>
        <p:spPr>
          <a:xfrm>
            <a:off x="515939" y="260648"/>
            <a:ext cx="91263" cy="504000"/>
          </a:xfrm>
          <a:prstGeom prst="rect">
            <a:avLst/>
          </a:prstGeom>
          <a:gradFill>
            <a:gsLst>
              <a:gs pos="0">
                <a:srgbClr val="4096CD"/>
              </a:gs>
              <a:gs pos="13000">
                <a:srgbClr val="4096CD"/>
              </a:gs>
              <a:gs pos="71000">
                <a:srgbClr val="256DA3"/>
              </a:gs>
              <a:gs pos="100000">
                <a:srgbClr val="256DA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lang="ru-RU" sz="1200" b="1">
              <a:solidFill>
                <a:srgbClr val="FFFFFF"/>
              </a:solidFill>
              <a:latin typeface="Verdana"/>
              <a:ea typeface="Verdan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F85A2B5-F2F4-4C69-9FDA-FACCF40954D3}"/>
              </a:ext>
            </a:extLst>
          </p:cNvPr>
          <p:cNvSpPr txBox="1"/>
          <p:nvPr/>
        </p:nvSpPr>
        <p:spPr>
          <a:xfrm>
            <a:off x="407368" y="1247390"/>
            <a:ext cx="10908653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Наименование проекта/продукта/технолог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Наименование организации (при наличии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ФИО представителя (выступающего), должност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Логотипы мероприятий, акселераторов, (при желании, 3 наиболее значимых)</a:t>
            </a:r>
          </a:p>
        </p:txBody>
      </p:sp>
    </p:spTree>
    <p:extLst>
      <p:ext uri="{BB962C8B-B14F-4D97-AF65-F5344CB8AC3E}">
        <p14:creationId xmlns:p14="http://schemas.microsoft.com/office/powerpoint/2010/main" val="8810428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0"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19701F-51F7-428B-AA3A-0B5D731C629E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DFCBB342-5A1C-4BFF-A0AC-A5E50DEF64E8}"/>
              </a:ext>
            </a:extLst>
          </p:cNvPr>
          <p:cNvSpPr txBox="1">
            <a:spLocks/>
          </p:cNvSpPr>
          <p:nvPr/>
        </p:nvSpPr>
        <p:spPr>
          <a:xfrm>
            <a:off x="600305" y="260648"/>
            <a:ext cx="11075755" cy="477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chemeClr val="accent4"/>
                </a:solidFill>
                <a:latin typeface="Verdana"/>
                <a:ea typeface="Verdana"/>
                <a:sym typeface="Verdana"/>
              </a:rPr>
              <a:t>2. Проблематика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B163E9C-D325-5E50-900C-AC04FB2F13E4}"/>
              </a:ext>
            </a:extLst>
          </p:cNvPr>
          <p:cNvSpPr/>
          <p:nvPr/>
        </p:nvSpPr>
        <p:spPr>
          <a:xfrm>
            <a:off x="515939" y="260648"/>
            <a:ext cx="91263" cy="504000"/>
          </a:xfrm>
          <a:prstGeom prst="rect">
            <a:avLst/>
          </a:prstGeom>
          <a:gradFill>
            <a:gsLst>
              <a:gs pos="0">
                <a:srgbClr val="4096CD"/>
              </a:gs>
              <a:gs pos="13000">
                <a:srgbClr val="4096CD"/>
              </a:gs>
              <a:gs pos="71000">
                <a:srgbClr val="256DA3"/>
              </a:gs>
              <a:gs pos="100000">
                <a:srgbClr val="256DA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lang="ru-RU" sz="1200" b="1">
              <a:solidFill>
                <a:srgbClr val="FFFFFF"/>
              </a:solidFill>
              <a:latin typeface="Verdana"/>
              <a:ea typeface="Verdan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2E1681-A977-425F-BE33-4EB7BE1CD12F}"/>
              </a:ext>
            </a:extLst>
          </p:cNvPr>
          <p:cNvSpPr txBox="1"/>
          <p:nvPr/>
        </p:nvSpPr>
        <p:spPr>
          <a:xfrm>
            <a:off x="407368" y="1247390"/>
            <a:ext cx="10908653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Какую проблему клиента Вы решаете? </a:t>
            </a:r>
            <a:br>
              <a:rPr lang="ru-RU" sz="2200" dirty="0"/>
            </a:br>
            <a:r>
              <a:rPr lang="ru-RU" sz="2200" dirty="0"/>
              <a:t>Если Вы решаете несколько проблем, выберите самую существенную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Четко сформулируйте проблему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Создаете ли Вы новую возможность для клиента? Ускоряете/удешевляете/повышаете качество/</a:t>
            </a:r>
            <a:r>
              <a:rPr lang="ru-RU" sz="2200" dirty="0" err="1"/>
              <a:t>импортозамещаете</a:t>
            </a:r>
            <a:r>
              <a:rPr lang="ru-RU" sz="2200" dirty="0"/>
              <a:t> существующее решение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Постарайтесь оцифровать проблему/возможность в денежном выражении (например, какой объем средств потенциальные заказчики тратят из-за проблемы сейчас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Приведите факты, подтверждающие наличие проблемы. Это могут быть аналитические отчеты, мнения отраслевых экспертов или потребителей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Кратко поясните, почему существующие решения не устраивают клиентов?</a:t>
            </a:r>
          </a:p>
        </p:txBody>
      </p:sp>
    </p:spTree>
    <p:extLst>
      <p:ext uri="{BB962C8B-B14F-4D97-AF65-F5344CB8AC3E}">
        <p14:creationId xmlns:p14="http://schemas.microsoft.com/office/powerpoint/2010/main" val="3608985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4"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19701F-51F7-428B-AA3A-0B5D731C629E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DFCBB342-5A1C-4BFF-A0AC-A5E50DEF64E8}"/>
              </a:ext>
            </a:extLst>
          </p:cNvPr>
          <p:cNvSpPr txBox="1">
            <a:spLocks/>
          </p:cNvSpPr>
          <p:nvPr/>
        </p:nvSpPr>
        <p:spPr>
          <a:xfrm>
            <a:off x="600305" y="260648"/>
            <a:ext cx="11075755" cy="477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chemeClr val="accent4"/>
                </a:solidFill>
                <a:latin typeface="Verdana"/>
                <a:ea typeface="Verdana"/>
                <a:sym typeface="Verdana"/>
              </a:rPr>
              <a:t>3. Предлагаемое решение (технология/продукт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B163E9C-D325-5E50-900C-AC04FB2F13E4}"/>
              </a:ext>
            </a:extLst>
          </p:cNvPr>
          <p:cNvSpPr/>
          <p:nvPr/>
        </p:nvSpPr>
        <p:spPr>
          <a:xfrm>
            <a:off x="515939" y="260648"/>
            <a:ext cx="91263" cy="504000"/>
          </a:xfrm>
          <a:prstGeom prst="rect">
            <a:avLst/>
          </a:prstGeom>
          <a:gradFill>
            <a:gsLst>
              <a:gs pos="0">
                <a:srgbClr val="4096CD"/>
              </a:gs>
              <a:gs pos="13000">
                <a:srgbClr val="4096CD"/>
              </a:gs>
              <a:gs pos="71000">
                <a:srgbClr val="256DA3"/>
              </a:gs>
              <a:gs pos="100000">
                <a:srgbClr val="256DA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lang="ru-RU" sz="1200" b="1">
              <a:solidFill>
                <a:srgbClr val="FFFFFF"/>
              </a:solidFill>
              <a:latin typeface="Verdana"/>
              <a:ea typeface="Verdana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94694F7-66E6-4758-A346-81A04B3F5EAD}"/>
              </a:ext>
            </a:extLst>
          </p:cNvPr>
          <p:cNvSpPr txBox="1"/>
          <p:nvPr/>
        </p:nvSpPr>
        <p:spPr>
          <a:xfrm>
            <a:off x="490190" y="1844824"/>
            <a:ext cx="943304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Благодаря какой технологии Вы решаете проблему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Приведите доказательства, что решение работае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По возможности проиллюстрируйте суть технолог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Какова ситуация с интеллектуальной собственностью? Что не позволит конкурентам скопировать Ваше решение?</a:t>
            </a:r>
          </a:p>
        </p:txBody>
      </p:sp>
    </p:spTree>
    <p:extLst>
      <p:ext uri="{BB962C8B-B14F-4D97-AF65-F5344CB8AC3E}">
        <p14:creationId xmlns:p14="http://schemas.microsoft.com/office/powerpoint/2010/main" val="21614378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9"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19701F-51F7-428B-AA3A-0B5D731C629E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DFCBB342-5A1C-4BFF-A0AC-A5E50DEF64E8}"/>
              </a:ext>
            </a:extLst>
          </p:cNvPr>
          <p:cNvSpPr txBox="1">
            <a:spLocks/>
          </p:cNvSpPr>
          <p:nvPr/>
        </p:nvSpPr>
        <p:spPr>
          <a:xfrm>
            <a:off x="600305" y="260648"/>
            <a:ext cx="11075755" cy="477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chemeClr val="accent4"/>
                </a:solidFill>
                <a:latin typeface="Verdana"/>
                <a:ea typeface="Verdana"/>
                <a:sym typeface="Verdana"/>
              </a:rPr>
              <a:t>4. Уровень готовности решения и имеющиеся достижения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B163E9C-D325-5E50-900C-AC04FB2F13E4}"/>
              </a:ext>
            </a:extLst>
          </p:cNvPr>
          <p:cNvSpPr/>
          <p:nvPr/>
        </p:nvSpPr>
        <p:spPr>
          <a:xfrm>
            <a:off x="515939" y="260648"/>
            <a:ext cx="91263" cy="504000"/>
          </a:xfrm>
          <a:prstGeom prst="rect">
            <a:avLst/>
          </a:prstGeom>
          <a:gradFill>
            <a:gsLst>
              <a:gs pos="0">
                <a:srgbClr val="4096CD"/>
              </a:gs>
              <a:gs pos="13000">
                <a:srgbClr val="4096CD"/>
              </a:gs>
              <a:gs pos="71000">
                <a:srgbClr val="256DA3"/>
              </a:gs>
              <a:gs pos="100000">
                <a:srgbClr val="256DA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lang="ru-RU" sz="1200" b="1">
              <a:solidFill>
                <a:srgbClr val="FFFFFF"/>
              </a:solidFill>
              <a:latin typeface="Verdana"/>
              <a:ea typeface="Verdan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32EA75-6DAE-4664-8F51-364B1D10CFCA}"/>
              </a:ext>
            </a:extLst>
          </p:cNvPr>
          <p:cNvSpPr txBox="1"/>
          <p:nvPr/>
        </p:nvSpPr>
        <p:spPr>
          <a:xfrm>
            <a:off x="507959" y="1772816"/>
            <a:ext cx="11584798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На какой стадии готовности находится Ваше решение (</a:t>
            </a:r>
            <a:r>
              <a:rPr lang="en-US" sz="2200" dirty="0"/>
              <a:t>TRL, CRL)</a:t>
            </a:r>
            <a:r>
              <a:rPr lang="ru-RU" sz="2200" dirty="0"/>
              <a:t>?</a:t>
            </a:r>
          </a:p>
          <a:p>
            <a:r>
              <a:rPr lang="ru-RU" sz="2200" dirty="0"/>
              <a:t>Создан прототипы, пройдены испытания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Планируемые сроки перехода на следующие стадии готовности и необходимые для этого условия, ресурсы (можно в формате дорожной карты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Перечислите имеющиеся достижения (участия, победы в программах и мероприятиях, обратная связь от заказчиков, экспертов)</a:t>
            </a:r>
          </a:p>
        </p:txBody>
      </p:sp>
    </p:spTree>
    <p:extLst>
      <p:ext uri="{BB962C8B-B14F-4D97-AF65-F5344CB8AC3E}">
        <p14:creationId xmlns:p14="http://schemas.microsoft.com/office/powerpoint/2010/main" val="12697655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3"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19701F-51F7-428B-AA3A-0B5D731C629E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DFCBB342-5A1C-4BFF-A0AC-A5E50DEF64E8}"/>
              </a:ext>
            </a:extLst>
          </p:cNvPr>
          <p:cNvSpPr txBox="1">
            <a:spLocks/>
          </p:cNvSpPr>
          <p:nvPr/>
        </p:nvSpPr>
        <p:spPr>
          <a:xfrm>
            <a:off x="600305" y="260648"/>
            <a:ext cx="11075755" cy="477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chemeClr val="accent4"/>
                </a:solidFill>
                <a:latin typeface="Verdana"/>
                <a:ea typeface="Verdana"/>
                <a:sym typeface="Verdana"/>
              </a:rPr>
              <a:t>5. Возможные сферы применения, потенциальные заказчики и ожидаемые эффекты внедрения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B163E9C-D325-5E50-900C-AC04FB2F13E4}"/>
              </a:ext>
            </a:extLst>
          </p:cNvPr>
          <p:cNvSpPr/>
          <p:nvPr/>
        </p:nvSpPr>
        <p:spPr>
          <a:xfrm>
            <a:off x="515939" y="260648"/>
            <a:ext cx="91263" cy="504000"/>
          </a:xfrm>
          <a:prstGeom prst="rect">
            <a:avLst/>
          </a:prstGeom>
          <a:gradFill>
            <a:gsLst>
              <a:gs pos="0">
                <a:srgbClr val="4096CD"/>
              </a:gs>
              <a:gs pos="13000">
                <a:srgbClr val="4096CD"/>
              </a:gs>
              <a:gs pos="71000">
                <a:srgbClr val="256DA3"/>
              </a:gs>
              <a:gs pos="100000">
                <a:srgbClr val="256DA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lang="ru-RU" sz="1200" b="1">
              <a:solidFill>
                <a:srgbClr val="FFFFFF"/>
              </a:solidFill>
              <a:latin typeface="Verdana"/>
              <a:ea typeface="Verdana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125358-F718-4D9C-8BEC-33DE28A11019}"/>
              </a:ext>
            </a:extLst>
          </p:cNvPr>
          <p:cNvSpPr txBox="1"/>
          <p:nvPr/>
        </p:nvSpPr>
        <p:spPr>
          <a:xfrm>
            <a:off x="508306" y="1916832"/>
            <a:ext cx="11492831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Если у Вашей технологии есть несколько сфер применения – кратко расскажите об это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Каков примерный объем рынка, к которому Вы адресуетесь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С какими компаниями уже взаимодействовали, с какими не удалось, с какими хотели бы взаимодействовать?</a:t>
            </a:r>
          </a:p>
        </p:txBody>
      </p:sp>
    </p:spTree>
    <p:extLst>
      <p:ext uri="{BB962C8B-B14F-4D97-AF65-F5344CB8AC3E}">
        <p14:creationId xmlns:p14="http://schemas.microsoft.com/office/powerpoint/2010/main" val="29078610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6"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19701F-51F7-428B-AA3A-0B5D731C629E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DFCBB342-5A1C-4BFF-A0AC-A5E50DEF64E8}"/>
              </a:ext>
            </a:extLst>
          </p:cNvPr>
          <p:cNvSpPr txBox="1">
            <a:spLocks/>
          </p:cNvSpPr>
          <p:nvPr/>
        </p:nvSpPr>
        <p:spPr>
          <a:xfrm>
            <a:off x="600305" y="260648"/>
            <a:ext cx="11075755" cy="477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chemeClr val="accent4"/>
                </a:solidFill>
                <a:latin typeface="Verdana"/>
                <a:ea typeface="Verdana"/>
                <a:sym typeface="Verdana"/>
              </a:rPr>
              <a:t>6. Сравнение с аналогами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B163E9C-D325-5E50-900C-AC04FB2F13E4}"/>
              </a:ext>
            </a:extLst>
          </p:cNvPr>
          <p:cNvSpPr/>
          <p:nvPr/>
        </p:nvSpPr>
        <p:spPr>
          <a:xfrm>
            <a:off x="515939" y="260648"/>
            <a:ext cx="91263" cy="504000"/>
          </a:xfrm>
          <a:prstGeom prst="rect">
            <a:avLst/>
          </a:prstGeom>
          <a:gradFill>
            <a:gsLst>
              <a:gs pos="0">
                <a:srgbClr val="4096CD"/>
              </a:gs>
              <a:gs pos="13000">
                <a:srgbClr val="4096CD"/>
              </a:gs>
              <a:gs pos="71000">
                <a:srgbClr val="256DA3"/>
              </a:gs>
              <a:gs pos="100000">
                <a:srgbClr val="256DA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lang="ru-RU" sz="1200" b="1">
              <a:solidFill>
                <a:srgbClr val="FFFFFF"/>
              </a:solidFill>
              <a:latin typeface="Verdana"/>
              <a:ea typeface="Verdana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E313953-5D75-478D-A3E9-114450AFE0DE}"/>
              </a:ext>
            </a:extLst>
          </p:cNvPr>
          <p:cNvSpPr txBox="1"/>
          <p:nvPr/>
        </p:nvSpPr>
        <p:spPr>
          <a:xfrm>
            <a:off x="476573" y="1884174"/>
            <a:ext cx="11393454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Перечислите основных конкурентов (зарубежные и отечественные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Приведите сравнение своего решения с аналогами по ключевым критериям (не менее 6)</a:t>
            </a:r>
          </a:p>
        </p:txBody>
      </p:sp>
    </p:spTree>
    <p:extLst>
      <p:ext uri="{BB962C8B-B14F-4D97-AF65-F5344CB8AC3E}">
        <p14:creationId xmlns:p14="http://schemas.microsoft.com/office/powerpoint/2010/main" val="17263809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9"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19701F-51F7-428B-AA3A-0B5D731C629E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DFCBB342-5A1C-4BFF-A0AC-A5E50DEF64E8}"/>
              </a:ext>
            </a:extLst>
          </p:cNvPr>
          <p:cNvSpPr txBox="1">
            <a:spLocks/>
          </p:cNvSpPr>
          <p:nvPr/>
        </p:nvSpPr>
        <p:spPr>
          <a:xfrm>
            <a:off x="600305" y="260648"/>
            <a:ext cx="11075755" cy="477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chemeClr val="accent4"/>
                </a:solidFill>
                <a:latin typeface="Verdana"/>
                <a:ea typeface="Verdana"/>
                <a:sym typeface="Verdana"/>
              </a:rPr>
              <a:t>7. Команда (существующие и недостающие компетенции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B163E9C-D325-5E50-900C-AC04FB2F13E4}"/>
              </a:ext>
            </a:extLst>
          </p:cNvPr>
          <p:cNvSpPr/>
          <p:nvPr/>
        </p:nvSpPr>
        <p:spPr>
          <a:xfrm>
            <a:off x="515939" y="260648"/>
            <a:ext cx="91263" cy="504000"/>
          </a:xfrm>
          <a:prstGeom prst="rect">
            <a:avLst/>
          </a:prstGeom>
          <a:gradFill>
            <a:gsLst>
              <a:gs pos="0">
                <a:srgbClr val="4096CD"/>
              </a:gs>
              <a:gs pos="13000">
                <a:srgbClr val="4096CD"/>
              </a:gs>
              <a:gs pos="71000">
                <a:srgbClr val="256DA3"/>
              </a:gs>
              <a:gs pos="100000">
                <a:srgbClr val="256DA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lang="ru-RU" sz="1200" b="1">
              <a:solidFill>
                <a:srgbClr val="FFFFFF"/>
              </a:solidFill>
              <a:latin typeface="Verdana"/>
              <a:ea typeface="Verdana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EF2EB9-3EDE-481B-9630-799423777F37}"/>
              </a:ext>
            </a:extLst>
          </p:cNvPr>
          <p:cNvSpPr txBox="1"/>
          <p:nvPr/>
        </p:nvSpPr>
        <p:spPr>
          <a:xfrm>
            <a:off x="476573" y="1884174"/>
            <a:ext cx="11393454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Ключевые лица команды</a:t>
            </a:r>
          </a:p>
          <a:p>
            <a:r>
              <a:rPr lang="ru-RU" sz="2200" dirty="0"/>
              <a:t>Кто в команде занимается разработкой?</a:t>
            </a:r>
          </a:p>
          <a:p>
            <a:r>
              <a:rPr lang="ru-RU" sz="2200" dirty="0"/>
              <a:t>Кто отвечает за продвижение?</a:t>
            </a:r>
          </a:p>
          <a:p>
            <a:r>
              <a:rPr lang="ru-RU" sz="2200" dirty="0"/>
              <a:t>Кто управляет командой, ведет переговоры?</a:t>
            </a:r>
          </a:p>
          <a:p>
            <a:r>
              <a:rPr lang="ru-RU" sz="2200" dirty="0"/>
              <a:t>В формате ФИ(О), зона ответственности, стаж, заслуги</a:t>
            </a:r>
          </a:p>
          <a:p>
            <a:endParaRPr lang="ru-RU" sz="2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Если команда ищет специалиста по конкретному направлению, укажите информацию об этом</a:t>
            </a:r>
          </a:p>
        </p:txBody>
      </p:sp>
    </p:spTree>
    <p:extLst>
      <p:ext uri="{BB962C8B-B14F-4D97-AF65-F5344CB8AC3E}">
        <p14:creationId xmlns:p14="http://schemas.microsoft.com/office/powerpoint/2010/main" val="42818931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4"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19701F-51F7-428B-AA3A-0B5D731C629E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DFCBB342-5A1C-4BFF-A0AC-A5E50DEF64E8}"/>
              </a:ext>
            </a:extLst>
          </p:cNvPr>
          <p:cNvSpPr txBox="1">
            <a:spLocks/>
          </p:cNvSpPr>
          <p:nvPr/>
        </p:nvSpPr>
        <p:spPr>
          <a:xfrm>
            <a:off x="600305" y="260648"/>
            <a:ext cx="11075755" cy="477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chemeClr val="accent4"/>
                </a:solidFill>
                <a:latin typeface="Verdana"/>
                <a:ea typeface="Verdana"/>
                <a:sym typeface="Verdana"/>
              </a:rPr>
              <a:t>8. В чем требуется содействие со стороны НАТТ и комиссии?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B163E9C-D325-5E50-900C-AC04FB2F13E4}"/>
              </a:ext>
            </a:extLst>
          </p:cNvPr>
          <p:cNvSpPr/>
          <p:nvPr/>
        </p:nvSpPr>
        <p:spPr>
          <a:xfrm>
            <a:off x="515939" y="260648"/>
            <a:ext cx="91263" cy="504000"/>
          </a:xfrm>
          <a:prstGeom prst="rect">
            <a:avLst/>
          </a:prstGeom>
          <a:gradFill>
            <a:gsLst>
              <a:gs pos="0">
                <a:srgbClr val="4096CD"/>
              </a:gs>
              <a:gs pos="13000">
                <a:srgbClr val="4096CD"/>
              </a:gs>
              <a:gs pos="71000">
                <a:srgbClr val="256DA3"/>
              </a:gs>
              <a:gs pos="100000">
                <a:srgbClr val="256DA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lang="ru-RU" sz="1200" b="1">
              <a:solidFill>
                <a:srgbClr val="FFFFFF"/>
              </a:solidFill>
              <a:latin typeface="Verdana"/>
              <a:ea typeface="Verdana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CD8A23-FC4D-4061-B5FA-9DF043A0B3AB}"/>
              </a:ext>
            </a:extLst>
          </p:cNvPr>
          <p:cNvSpPr txBox="1"/>
          <p:nvPr/>
        </p:nvSpPr>
        <p:spPr>
          <a:xfrm>
            <a:off x="476573" y="1884174"/>
            <a:ext cx="11393454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Что бы Вы хотели получить от НАТТ, членов комиссии, потенциальных заказчиков и партнеров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Как это будет способствовать развитию Вашего проекта?</a:t>
            </a:r>
          </a:p>
        </p:txBody>
      </p:sp>
    </p:spTree>
    <p:extLst>
      <p:ext uri="{BB962C8B-B14F-4D97-AF65-F5344CB8AC3E}">
        <p14:creationId xmlns:p14="http://schemas.microsoft.com/office/powerpoint/2010/main" val="2057944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НАТТ_палитра-шрифты">
  <a:themeElements>
    <a:clrScheme name="NAT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96CD"/>
      </a:accent1>
      <a:accent2>
        <a:srgbClr val="DF2626"/>
      </a:accent2>
      <a:accent3>
        <a:srgbClr val="D9DBDD"/>
      </a:accent3>
      <a:accent4>
        <a:srgbClr val="256DA3"/>
      </a:accent4>
      <a:accent5>
        <a:srgbClr val="8ACAEA"/>
      </a:accent5>
      <a:accent6>
        <a:srgbClr val="F29B86"/>
      </a:accent6>
      <a:hlink>
        <a:srgbClr val="DF2626"/>
      </a:hlink>
      <a:folHlink>
        <a:srgbClr val="F29B86"/>
      </a:folHlink>
    </a:clrScheme>
    <a:fontScheme name="Другая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НАТТ_палитра-шрифты" id="{2EDE67AC-4E31-49C1-84D8-A52D252A6C71}" vid="{A1F67B22-94C1-4D3D-88B8-502B04A5B54B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044</TotalTime>
  <Words>430</Words>
  <Application>Microsoft Office PowerPoint</Application>
  <PresentationFormat>Широкоэкранный</PresentationFormat>
  <Paragraphs>65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6" baseType="lpstr">
      <vt:lpstr>Arial</vt:lpstr>
      <vt:lpstr>Calibri</vt:lpstr>
      <vt:lpstr>Verdana</vt:lpstr>
      <vt:lpstr>Wingdings</vt:lpstr>
      <vt:lpstr>ТемаНАТТ_палитра-шрифты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NATT</dc:creator>
  <cp:lastModifiedBy>Пользователь Windows</cp:lastModifiedBy>
  <cp:revision>1386</cp:revision>
  <cp:lastPrinted>2022-03-22T13:26:42Z</cp:lastPrinted>
  <dcterms:created xsi:type="dcterms:W3CDTF">2020-11-11T08:10:26Z</dcterms:created>
  <dcterms:modified xsi:type="dcterms:W3CDTF">2023-03-21T12:24:47Z</dcterms:modified>
</cp:coreProperties>
</file>